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8249-643E-CC60-894D-569C9D7DC3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12E8F3-5A14-0442-6B62-BAE51CB9E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2367DC-15FC-F822-2C32-EF2A912F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FEB32-B6E9-8BBB-856F-65CF35583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E1DC6-39F3-AED6-F614-5D00163C2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01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ADD69-5CDD-6486-4B2F-82CE6356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66AE9-2B89-44D8-8E07-814926984F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8AC07-F80D-27E7-1A8B-4E8C65A51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23C3AA-342D-AE01-5538-19551133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774F9-13B9-8CBF-9CF7-B3723120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D3D3AC-CFA6-FF3D-A12D-65A8072152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85E613-97C2-C7A1-AB9C-314EC0917C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3B319-C4FE-E643-8DFF-1FF7AA5AC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62FDAC-E16E-0725-C5BC-1EBD276FB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2250D-D77A-7696-A17D-E2CCD143D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49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83C1C-DE25-7774-6A1B-AC68D5040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1135-8C85-98AA-06BA-6D0F7845CD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CBDF3-2D24-3D5F-94BC-F00CBC81A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EAECD-EA01-A705-44B7-3A3989584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FBCEBD-E7B2-D57C-DF7C-960B898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479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30532-5DC3-BAAF-0151-859FA92D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3B602-A214-F9F1-C302-FCB1B36DB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98837-364E-3FC5-D70D-0C32A263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D96E1-A17F-DA61-F591-89A5AD36C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B13DD-0DD3-1AEA-729B-4BB49383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3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4D235-6485-4771-CDD8-05D1EF172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2AE40-C2C1-D218-19D7-F8D7057C87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6D2401-5F06-F253-2483-DBB0AE4FB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DBB680-4370-9BAC-E78F-17070714A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BCE936-6F11-F8E1-7144-3C2953552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CC263-51B6-6FBF-E922-3B0B277D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96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B47E8-9B31-6DE5-CDE8-16C95F73B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38DA3-4D93-7C35-BFB9-7D5514390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DE3B4-F5C1-CBB0-7FE8-24DF00194B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0E63B-BA30-2C13-2EC6-20B198A4B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15BEC-E64D-5A22-3D89-6AF7C243D8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CB1987-EF73-B3CB-84DF-AAFFEFC1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5A3CF-EF46-307B-03B7-664651E41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4FC98A-46A1-BEC5-B689-40C2B0BD2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45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FF00C-C533-1F25-DA95-C1D862413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88A118-7438-27F5-5882-6806E49F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E440A-35F5-E52A-7155-00CA5B03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8D02BB-5BA3-FBC6-6BCA-AAF0D86FE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204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6E86E6-18BC-A3FE-8689-7EEDEAEEE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3F1D3D-5A69-2098-FDCB-FAD335534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1C6F6A-3142-D960-1288-D20C5EC6D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039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E9101-2184-D864-31A6-DB1E0D88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02D5A-27C7-9B11-5713-80D4DA60D5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249F0-B516-A603-4333-135EE73537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9258-B7F1-79D0-65EC-D62EB99C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5A4BFA-BDC9-6952-53A9-4266DB5B1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7B9672-6CDB-98BF-36F7-D58DE448C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78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E3E9D-0C5E-C8A7-5A9C-750D927F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0F2790-33BA-7403-CC17-856D5E468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F7896-5E26-09BD-976B-85CC3F816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FE758-0ACA-8B3D-8CFD-15C45C45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7AD68-AF89-F9E4-6C43-4009CA0A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BE694D-D82D-39BF-3975-0A736682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811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34A04F-0883-69BE-2CBE-678E68210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8043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B192B-9AD3-7A86-1ADF-6CA1BB1AC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1992AE-DE37-2438-1E3A-C443959E5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F7C9B7-E6E0-6C03-CD9A-B73C28AD66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BB5413F-7912-4330-AD11-32B182D60A79}" type="datetimeFigureOut">
              <a:rPr lang="en-US" smtClean="0"/>
              <a:t>7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E39100-8BAB-8DE1-26B0-6CC956D82E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EB777-AEE5-A408-A9AB-2960FA78C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11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D306DA-485B-151A-D4B1-65EDEF65B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7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7EC3BC3-1CF3-50B9-BBF9-9ED55CE45CC7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0667B9-B045-EB7F-271C-08FDFA7CA31C}"/>
              </a:ext>
            </a:extLst>
          </p:cNvPr>
          <p:cNvSpPr/>
          <p:nvPr/>
        </p:nvSpPr>
        <p:spPr>
          <a:xfrm>
            <a:off x="446568" y="1639955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22EEA4-CC8A-0961-82E5-11FF2B7952C0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D28597A-949E-8AAB-F1C3-12896B99F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571725"/>
              </p:ext>
            </p:extLst>
          </p:nvPr>
        </p:nvGraphicFramePr>
        <p:xfrm>
          <a:off x="203200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0EEBEB5-57CA-2F9E-236D-2214B6D5A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13222"/>
              </p:ext>
            </p:extLst>
          </p:nvPr>
        </p:nvGraphicFramePr>
        <p:xfrm>
          <a:off x="2499832" y="2687320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BBEC220-FD52-788E-7475-91B634212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345082"/>
              </p:ext>
            </p:extLst>
          </p:nvPr>
        </p:nvGraphicFramePr>
        <p:xfrm>
          <a:off x="9020544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A8940A0-57EA-299A-8926-2B1A933914DE}"/>
              </a:ext>
            </a:extLst>
          </p:cNvPr>
          <p:cNvSpPr/>
          <p:nvPr/>
        </p:nvSpPr>
        <p:spPr>
          <a:xfrm>
            <a:off x="7208874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4810A1-CBDC-EAA2-F82E-45063A42290D}"/>
              </a:ext>
            </a:extLst>
          </p:cNvPr>
          <p:cNvSpPr/>
          <p:nvPr/>
        </p:nvSpPr>
        <p:spPr>
          <a:xfrm>
            <a:off x="10224976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4F4E4-9391-C318-75A7-01D122EDD2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8284" y="4335395"/>
            <a:ext cx="3581512" cy="20435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30E3184-DABD-EA95-A9B9-4B6697F918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0660" y="4534786"/>
            <a:ext cx="2955655" cy="186864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C3E82B1-0D6C-CC33-2ABC-56F62BB0AB80}"/>
              </a:ext>
            </a:extLst>
          </p:cNvPr>
          <p:cNvSpPr/>
          <p:nvPr/>
        </p:nvSpPr>
        <p:spPr>
          <a:xfrm>
            <a:off x="0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752A30-7DD3-93AE-27BA-82AD19E93A77}"/>
              </a:ext>
            </a:extLst>
          </p:cNvPr>
          <p:cNvSpPr/>
          <p:nvPr/>
        </p:nvSpPr>
        <p:spPr>
          <a:xfrm>
            <a:off x="2447261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E798171-387C-9A2A-8CFE-028306B78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202641"/>
              </p:ext>
            </p:extLst>
          </p:nvPr>
        </p:nvGraphicFramePr>
        <p:xfrm>
          <a:off x="314250" y="4727427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77F1914-7E36-A14A-B497-5D996EEE5538}"/>
              </a:ext>
            </a:extLst>
          </p:cNvPr>
          <p:cNvSpPr txBox="1"/>
          <p:nvPr/>
        </p:nvSpPr>
        <p:spPr>
          <a:xfrm>
            <a:off x="258724" y="5592726"/>
            <a:ext cx="1332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Numérica</a:t>
            </a:r>
            <a:r>
              <a:rPr lang="en-US" dirty="0"/>
              <a:t> (continua)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310373A-31DC-5090-1430-64912210F0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356719"/>
              </p:ext>
            </p:extLst>
          </p:nvPr>
        </p:nvGraphicFramePr>
        <p:xfrm>
          <a:off x="2714845" y="4795281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CB9CDC1-1883-ADE7-0C01-90340A54BFA7}"/>
              </a:ext>
            </a:extLst>
          </p:cNvPr>
          <p:cNvSpPr txBox="1"/>
          <p:nvPr/>
        </p:nvSpPr>
        <p:spPr>
          <a:xfrm>
            <a:off x="2668123" y="5762845"/>
            <a:ext cx="1315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tegór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71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</TotalTime>
  <Words>29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1</cp:revision>
  <dcterms:created xsi:type="dcterms:W3CDTF">2024-07-30T01:16:27Z</dcterms:created>
  <dcterms:modified xsi:type="dcterms:W3CDTF">2024-07-30T03:44:28Z</dcterms:modified>
</cp:coreProperties>
</file>